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11"/>
  </p:notesMasterIdLst>
  <p:sldIdLst>
    <p:sldId id="258" r:id="rId2"/>
    <p:sldId id="263" r:id="rId3"/>
    <p:sldId id="260" r:id="rId4"/>
    <p:sldId id="266" r:id="rId5"/>
    <p:sldId id="267" r:id="rId6"/>
    <p:sldId id="268" r:id="rId7"/>
    <p:sldId id="269" r:id="rId8"/>
    <p:sldId id="265" r:id="rId9"/>
    <p:sldId id="262" r:id="rId10"/>
  </p:sldIdLst>
  <p:sldSz cx="18288000" cy="10287000"/>
  <p:notesSz cx="6858000" cy="9144000"/>
  <p:embeddedFontLst>
    <p:embeddedFont>
      <p:font typeface="Biome Light" panose="020B0303030204020804" pitchFamily="34" charset="0"/>
      <p:regular r:id="rId12"/>
      <p:italic r:id="rId13"/>
    </p:embeddedFon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Roboto Light" panose="02000000000000000000" pitchFamily="2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5DC254-A4E6-4FE3-A4D9-DA0A8CC4A96C}" v="6" dt="2023-10-09T02:10:31.3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1667"/>
    <p:restoredTop sz="94719"/>
  </p:normalViewPr>
  <p:slideViewPr>
    <p:cSldViewPr snapToGrid="0">
      <p:cViewPr varScale="1">
        <p:scale>
          <a:sx n="36" d="100"/>
          <a:sy n="36" d="100"/>
        </p:scale>
        <p:origin x="72" y="172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10.fntdata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fonso de Paula Pinheiro Rocha" userId="241badb3-30a1-41f9-864a-3633b0c25eaa" providerId="ADAL" clId="{C55DC254-A4E6-4FE3-A4D9-DA0A8CC4A96C}"/>
    <pc:docChg chg="undo custSel modSld">
      <pc:chgData name="Afonso de Paula Pinheiro Rocha" userId="241badb3-30a1-41f9-864a-3633b0c25eaa" providerId="ADAL" clId="{C55DC254-A4E6-4FE3-A4D9-DA0A8CC4A96C}" dt="2023-10-09T02:10:53.001" v="131" actId="20577"/>
      <pc:docMkLst>
        <pc:docMk/>
      </pc:docMkLst>
      <pc:sldChg chg="modSp mod">
        <pc:chgData name="Afonso de Paula Pinheiro Rocha" userId="241badb3-30a1-41f9-864a-3633b0c25eaa" providerId="ADAL" clId="{C55DC254-A4E6-4FE3-A4D9-DA0A8CC4A96C}" dt="2023-10-09T02:10:53.001" v="131" actId="20577"/>
        <pc:sldMkLst>
          <pc:docMk/>
          <pc:sldMk cId="2718940529" sldId="265"/>
        </pc:sldMkLst>
        <pc:spChg chg="mod">
          <ac:chgData name="Afonso de Paula Pinheiro Rocha" userId="241badb3-30a1-41f9-864a-3633b0c25eaa" providerId="ADAL" clId="{C55DC254-A4E6-4FE3-A4D9-DA0A8CC4A96C}" dt="2023-10-09T02:10:53.001" v="131" actId="20577"/>
          <ac:spMkLst>
            <pc:docMk/>
            <pc:sldMk cId="2718940529" sldId="265"/>
            <ac:spMk id="3" creationId="{00000000-0000-0000-0000-000000000000}"/>
          </ac:spMkLst>
        </pc:spChg>
        <pc:graphicFrameChg chg="mod">
          <ac:chgData name="Afonso de Paula Pinheiro Rocha" userId="241badb3-30a1-41f9-864a-3633b0c25eaa" providerId="ADAL" clId="{C55DC254-A4E6-4FE3-A4D9-DA0A8CC4A96C}" dt="2023-10-09T02:08:09.933" v="100"/>
          <ac:graphicFrameMkLst>
            <pc:docMk/>
            <pc:sldMk cId="2718940529" sldId="265"/>
            <ac:graphicFrameMk id="5" creationId="{7615A44C-EE8B-25D1-E73D-6114C95C59A6}"/>
          </ac:graphicFrameMkLst>
        </pc:graphicFrameChg>
      </pc:sldChg>
      <pc:sldChg chg="modSp mod">
        <pc:chgData name="Afonso de Paula Pinheiro Rocha" userId="241badb3-30a1-41f9-864a-3633b0c25eaa" providerId="ADAL" clId="{C55DC254-A4E6-4FE3-A4D9-DA0A8CC4A96C}" dt="2023-10-09T02:04:28.297" v="50" actId="179"/>
        <pc:sldMkLst>
          <pc:docMk/>
          <pc:sldMk cId="3501768184" sldId="268"/>
        </pc:sldMkLst>
        <pc:spChg chg="mod">
          <ac:chgData name="Afonso de Paula Pinheiro Rocha" userId="241badb3-30a1-41f9-864a-3633b0c25eaa" providerId="ADAL" clId="{C55DC254-A4E6-4FE3-A4D9-DA0A8CC4A96C}" dt="2023-10-09T02:04:07.763" v="46" actId="123"/>
          <ac:spMkLst>
            <pc:docMk/>
            <pc:sldMk cId="3501768184" sldId="268"/>
            <ac:spMk id="3" creationId="{00000000-0000-0000-0000-000000000000}"/>
          </ac:spMkLst>
        </pc:spChg>
        <pc:spChg chg="mod">
          <ac:chgData name="Afonso de Paula Pinheiro Rocha" userId="241badb3-30a1-41f9-864a-3633b0c25eaa" providerId="ADAL" clId="{C55DC254-A4E6-4FE3-A4D9-DA0A8CC4A96C}" dt="2023-10-09T02:04:28.297" v="50" actId="179"/>
          <ac:spMkLst>
            <pc:docMk/>
            <pc:sldMk cId="3501768184" sldId="268"/>
            <ac:spMk id="4" creationId="{00000000-0000-0000-0000-000000000000}"/>
          </ac:spMkLst>
        </pc:spChg>
      </pc:sldChg>
      <pc:sldChg chg="modSp mod">
        <pc:chgData name="Afonso de Paula Pinheiro Rocha" userId="241badb3-30a1-41f9-864a-3633b0c25eaa" providerId="ADAL" clId="{C55DC254-A4E6-4FE3-A4D9-DA0A8CC4A96C}" dt="2023-10-09T02:07:09.109" v="99" actId="20577"/>
        <pc:sldMkLst>
          <pc:docMk/>
          <pc:sldMk cId="1973004691" sldId="269"/>
        </pc:sldMkLst>
        <pc:spChg chg="mod">
          <ac:chgData name="Afonso de Paula Pinheiro Rocha" userId="241badb3-30a1-41f9-864a-3633b0c25eaa" providerId="ADAL" clId="{C55DC254-A4E6-4FE3-A4D9-DA0A8CC4A96C}" dt="2023-10-09T02:07:09.109" v="99" actId="20577"/>
          <ac:spMkLst>
            <pc:docMk/>
            <pc:sldMk cId="1973004691" sldId="269"/>
            <ac:spMk id="3" creationId="{00000000-0000-0000-0000-000000000000}"/>
          </ac:spMkLst>
        </pc:spChg>
        <pc:spChg chg="mod">
          <ac:chgData name="Afonso de Paula Pinheiro Rocha" userId="241badb3-30a1-41f9-864a-3633b0c25eaa" providerId="ADAL" clId="{C55DC254-A4E6-4FE3-A4D9-DA0A8CC4A96C}" dt="2023-10-09T02:06:50.564" v="88" actId="20577"/>
          <ac:spMkLst>
            <pc:docMk/>
            <pc:sldMk cId="1973004691" sldId="269"/>
            <ac:spMk id="4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46332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EABAFD-74D6-51C2-98C1-CCA5795CC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52A79-B159-5259-79DF-C48F82B0D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679FE-3B60-23E0-8EBD-D3204877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6" r:id="rId2"/>
    <p:sldLayoutId id="2147483662" r:id="rId3"/>
    <p:sldLayoutId id="2147483664" r:id="rId4"/>
    <p:sldLayoutId id="2147483650" r:id="rId5"/>
    <p:sldLayoutId id="2147483660" r:id="rId6"/>
    <p:sldLayoutId id="2147483657" r:id="rId7"/>
    <p:sldLayoutId id="2147483665" r:id="rId8"/>
    <p:sldLayoutId id="2147483658" r:id="rId9"/>
    <p:sldLayoutId id="2147483661" r:id="rId10"/>
    <p:sldLayoutId id="2147483653" r:id="rId11"/>
    <p:sldLayoutId id="2147483655" r:id="rId12"/>
    <p:sldLayoutId id="2147483659" r:id="rId13"/>
    <p:sldLayoutId id="2147483656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?utm_source=smart%20slides&amp;utm_medium=referral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moveweb.com.br/robos-ja-escrevem-sozinhos-mas-podem-ser-melhores-que-humanos/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C831E7FE-1864-009E-DBA0-55629A4FB5C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4888" y="5760843"/>
            <a:ext cx="12461358" cy="4182267"/>
          </a:xfrm>
          <a:blipFill>
            <a:blip r:embed="rId3"/>
            <a:tile tx="0" ty="0" sx="100000" sy="100000" flip="none" algn="tl"/>
          </a:blipFill>
        </p:spPr>
        <p:txBody>
          <a:bodyPr/>
          <a:lstStyle/>
          <a:p>
            <a:pPr marL="898525" algn="l">
              <a:spcAft>
                <a:spcPts val="600"/>
              </a:spcAft>
            </a:pPr>
            <a:r>
              <a:rPr lang="pt-BR" sz="5400" dirty="0"/>
              <a:t>Autora: </a:t>
            </a:r>
          </a:p>
          <a:p>
            <a:pPr marL="898525" algn="l">
              <a:spcAft>
                <a:spcPts val="600"/>
              </a:spcAft>
            </a:pPr>
            <a:r>
              <a:rPr lang="pt-BR" sz="5400" dirty="0"/>
              <a:t>Ludiana Carla Braga Façanha Rocha</a:t>
            </a:r>
          </a:p>
          <a:p>
            <a:pPr marL="898525" algn="l">
              <a:spcAft>
                <a:spcPts val="600"/>
              </a:spcAft>
            </a:pPr>
            <a:r>
              <a:rPr lang="pt-BR" sz="4400" dirty="0"/>
              <a:t>Procuradora </a:t>
            </a:r>
            <a:r>
              <a:rPr lang="pt-BR" sz="4400" dirty="0" err="1"/>
              <a:t>del</a:t>
            </a:r>
            <a:r>
              <a:rPr lang="pt-BR" sz="4400" dirty="0"/>
              <a:t> Estado de Ceará</a:t>
            </a:r>
          </a:p>
          <a:p>
            <a:pPr marL="898525" algn="l">
              <a:spcAft>
                <a:spcPts val="600"/>
              </a:spcAft>
            </a:pPr>
            <a:r>
              <a:rPr lang="pt-BR" sz="4400" dirty="0" err="1"/>
              <a:t>Doctoranda</a:t>
            </a:r>
            <a:r>
              <a:rPr lang="pt-BR" sz="4400" dirty="0"/>
              <a:t> por IDP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4888" y="2020186"/>
            <a:ext cx="15999379" cy="1212112"/>
          </a:xfrm>
        </p:spPr>
        <p:txBody>
          <a:bodyPr wrap="square" anchor="t">
            <a:noAutofit/>
          </a:bodyPr>
          <a:lstStyle/>
          <a:p>
            <a:pPr algn="l">
              <a:defRPr>
                <a:solidFill>
                  <a:srgbClr val="FFFFFF"/>
                </a:solidFill>
              </a:defRPr>
            </a:pPr>
            <a:r>
              <a:rPr lang="es-ES" sz="6600" dirty="0">
                <a:solidFill>
                  <a:schemeClr val="tx1"/>
                </a:solidFill>
              </a:rPr>
              <a:t>La regulación de la inteligencia artificial desde la perspectiva del derecho comparado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00325" y="1155032"/>
            <a:ext cx="8186622" cy="8446968"/>
          </a:xfrm>
        </p:spPr>
        <p:txBody>
          <a:bodyPr>
            <a:normAutofit/>
          </a:bodyPr>
          <a:lstStyle/>
          <a:p>
            <a:r>
              <a:rPr lang="es-ES" sz="4800" dirty="0"/>
              <a:t>Desarrollo histórico de la regulación de la IA</a:t>
            </a:r>
          </a:p>
          <a:p>
            <a:endParaRPr lang="es-ES" sz="4800" dirty="0"/>
          </a:p>
          <a:p>
            <a:r>
              <a:rPr lang="es-ES" sz="4800" dirty="0"/>
              <a:t>Comparación entre diferentes jurisdicciones</a:t>
            </a:r>
          </a:p>
          <a:p>
            <a:endParaRPr lang="es-ES" sz="4800" dirty="0"/>
          </a:p>
          <a:p>
            <a:r>
              <a:rPr lang="es-ES" sz="4800" dirty="0"/>
              <a:t>Especificidades de la regulación en Brasi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solidFill>
            <a:srgbClr val="1E3A8A"/>
          </a:solidFill>
        </p:spPr>
        <p:txBody>
          <a:bodyPr/>
          <a:lstStyle/>
          <a:p>
            <a:pPr algn="ctr"/>
            <a:endParaRPr kumimoji="0" lang="es-ES" sz="5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  <a:p>
            <a:pPr algn="ctr"/>
            <a:endParaRPr lang="es-ES" sz="10400" dirty="0">
              <a:solidFill>
                <a:srgbClr val="FFFFFF"/>
              </a:solidFill>
            </a:endParaRPr>
          </a:p>
          <a:p>
            <a:pPr algn="ctr"/>
            <a:r>
              <a:rPr kumimoji="0" lang="es-ES" sz="10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Evolución de la Regulación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467663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3789" y="482294"/>
            <a:ext cx="7507706" cy="1929653"/>
          </a:xfrm>
        </p:spPr>
        <p:txBody>
          <a:bodyPr/>
          <a:lstStyle/>
          <a:p>
            <a:pPr>
              <a:defRPr>
                <a:solidFill>
                  <a:srgbClr val="1E3A8A"/>
                </a:solidFill>
              </a:defRPr>
            </a:pPr>
            <a:r>
              <a:rPr dirty="0" err="1"/>
              <a:t>Proyectos</a:t>
            </a:r>
            <a:r>
              <a:rPr dirty="0"/>
              <a:t> </a:t>
            </a:r>
            <a:r>
              <a:rPr dirty="0" err="1"/>
              <a:t>Legislativos</a:t>
            </a:r>
            <a:r>
              <a:rPr dirty="0"/>
              <a:t> </a:t>
            </a:r>
            <a:r>
              <a:rPr dirty="0" err="1"/>
              <a:t>en</a:t>
            </a:r>
            <a:r>
              <a:rPr dirty="0"/>
              <a:t> </a:t>
            </a:r>
            <a:r>
              <a:rPr dirty="0" err="1"/>
              <a:t>Brasil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7176" y="2342148"/>
            <a:ext cx="10614212" cy="4811688"/>
          </a:xfrm>
        </p:spPr>
        <p:txBody>
          <a:bodyPr>
            <a:normAutofit/>
          </a:bodyPr>
          <a:lstStyle/>
          <a:p>
            <a:r>
              <a:rPr sz="4400" dirty="0" err="1"/>
              <a:t>Visión</a:t>
            </a:r>
            <a:r>
              <a:rPr sz="4400" dirty="0"/>
              <a:t> general de </a:t>
            </a:r>
            <a:r>
              <a:rPr sz="4400" dirty="0" err="1"/>
              <a:t>los</a:t>
            </a:r>
            <a:r>
              <a:rPr sz="4400" dirty="0"/>
              <a:t> </a:t>
            </a:r>
            <a:r>
              <a:rPr sz="4400" dirty="0" err="1"/>
              <a:t>proyectos</a:t>
            </a:r>
            <a:r>
              <a:rPr sz="4400" dirty="0"/>
              <a:t> </a:t>
            </a:r>
            <a:r>
              <a:rPr sz="4400" dirty="0" err="1"/>
              <a:t>en</a:t>
            </a:r>
            <a:r>
              <a:rPr sz="4400" dirty="0"/>
              <a:t> </a:t>
            </a:r>
            <a:r>
              <a:rPr sz="4400" dirty="0" err="1"/>
              <a:t>curso</a:t>
            </a:r>
            <a:endParaRPr lang="pt-BR" sz="4400" dirty="0"/>
          </a:p>
          <a:p>
            <a:endParaRPr sz="4400" dirty="0"/>
          </a:p>
          <a:p>
            <a:r>
              <a:rPr sz="4400" dirty="0" err="1"/>
              <a:t>Objetivos</a:t>
            </a:r>
            <a:r>
              <a:rPr sz="4400" dirty="0"/>
              <a:t> y </a:t>
            </a:r>
            <a:r>
              <a:rPr sz="4400" dirty="0" err="1"/>
              <a:t>alcance</a:t>
            </a:r>
            <a:r>
              <a:rPr sz="4400" dirty="0"/>
              <a:t> de </a:t>
            </a:r>
            <a:r>
              <a:rPr sz="4400" dirty="0" err="1"/>
              <a:t>los</a:t>
            </a:r>
            <a:r>
              <a:rPr sz="4400" dirty="0"/>
              <a:t> </a:t>
            </a:r>
            <a:r>
              <a:rPr sz="4400" dirty="0" err="1"/>
              <a:t>principales</a:t>
            </a:r>
            <a:r>
              <a:rPr sz="4400" dirty="0"/>
              <a:t> </a:t>
            </a:r>
            <a:r>
              <a:rPr sz="4400" dirty="0" err="1"/>
              <a:t>proyectos</a:t>
            </a:r>
            <a:endParaRPr lang="pt-BR" sz="4400" dirty="0"/>
          </a:p>
          <a:p>
            <a:endParaRPr sz="4400" dirty="0"/>
          </a:p>
          <a:p>
            <a:r>
              <a:rPr sz="4400" dirty="0" err="1"/>
              <a:t>Impacto</a:t>
            </a:r>
            <a:r>
              <a:rPr sz="4400" dirty="0"/>
              <a:t> </a:t>
            </a:r>
            <a:r>
              <a:rPr sz="4400" dirty="0" err="1"/>
              <a:t>potencial</a:t>
            </a:r>
            <a:r>
              <a:rPr sz="4400" dirty="0"/>
              <a:t> </a:t>
            </a:r>
            <a:r>
              <a:rPr sz="4400" dirty="0" err="1"/>
              <a:t>en</a:t>
            </a:r>
            <a:r>
              <a:rPr sz="4400" dirty="0"/>
              <a:t> la </a:t>
            </a:r>
            <a:r>
              <a:rPr sz="4400" dirty="0" err="1"/>
              <a:t>industria</a:t>
            </a:r>
            <a:r>
              <a:rPr sz="4400" dirty="0"/>
              <a:t> de IA</a:t>
            </a:r>
          </a:p>
        </p:txBody>
      </p:sp>
      <p:pic>
        <p:nvPicPr>
          <p:cNvPr id="5" name="Picture Placeholder 4" descr="JjGXjESMxOY.jpg"/>
          <p:cNvPicPr>
            <a:picLocks noGrp="1" noChangeAspect="1"/>
          </p:cNvPicPr>
          <p:nvPr>
            <p:ph type="pic" idx="10"/>
          </p:nvPr>
        </p:nvPicPr>
        <p:blipFill>
          <a:blip r:embed="rId2"/>
          <a:srcRect l="24004" r="24004"/>
          <a:stretch>
            <a:fillRect/>
          </a:stretch>
        </p:blipFill>
        <p:spPr/>
      </p:pic>
      <p:graphicFrame>
        <p:nvGraphicFramePr>
          <p:cNvPr id="4" name="Tabela 7">
            <a:extLst>
              <a:ext uri="{FF2B5EF4-FFF2-40B4-BE49-F238E27FC236}">
                <a16:creationId xmlns:a16="http://schemas.microsoft.com/office/drawing/2014/main" id="{AC4597FD-8AE2-D134-E1AC-D275A3E9D21D}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982557533"/>
              </p:ext>
            </p:extLst>
          </p:nvPr>
        </p:nvGraphicFramePr>
        <p:xfrm>
          <a:off x="632363" y="7796237"/>
          <a:ext cx="10614212" cy="2144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14212">
                  <a:extLst>
                    <a:ext uri="{9D8B030D-6E8A-4147-A177-3AD203B41FA5}">
                      <a16:colId xmlns:a16="http://schemas.microsoft.com/office/drawing/2014/main" val="2027370666"/>
                    </a:ext>
                  </a:extLst>
                </a:gridCol>
              </a:tblGrid>
              <a:tr h="2144688">
                <a:tc>
                  <a:txBody>
                    <a:bodyPr/>
                    <a:lstStyle/>
                    <a:p>
                      <a:pPr algn="just"/>
                      <a:r>
                        <a:rPr lang="pt-BR" sz="3600" dirty="0"/>
                        <a:t>PL nº 759/2023</a:t>
                      </a:r>
                    </a:p>
                    <a:p>
                      <a:pPr algn="just"/>
                      <a:r>
                        <a:rPr lang="pt-BR" sz="3600" dirty="0"/>
                        <a:t>PL nº 1153/2023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pt-BR" sz="3600" dirty="0"/>
                        <a:t>PL nº 2338/2023 </a:t>
                      </a:r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4041115"/>
                  </a:ext>
                </a:extLst>
              </a:tr>
            </a:tbl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endParaRPr dirty="0">
              <a:hlinkClick r:id="rId3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87674" y="1840032"/>
            <a:ext cx="8186622" cy="7856861"/>
          </a:xfrm>
        </p:spPr>
        <p:txBody>
          <a:bodyPr>
            <a:normAutofit lnSpcReduction="10000"/>
          </a:bodyPr>
          <a:lstStyle/>
          <a:p>
            <a:pPr marL="76200" indent="0" algn="just">
              <a:buNone/>
            </a:pPr>
            <a:endParaRPr lang="pt-BR" sz="4800" dirty="0"/>
          </a:p>
          <a:p>
            <a:pPr algn="just"/>
            <a:r>
              <a:rPr lang="es-ES" sz="3200" dirty="0"/>
              <a:t>Este proyecto de ley sustituto se basa en la premisa de que no existe ninguna compensación –una elección mutuamente excluyente– entre la protección de los derechos y libertades fundamentales, la valoración del trabajo y la dignidad de la persona humana frente al orden económico y la creación de nuevas cadenas de valor. Por el contrario, sus fundamentos y principios buscan esa armonización, conforme a la Constitución Federal y de manera dialógica con otras leyes que enfrentan el mismo tipo de desafío (Informe final: Comisión de juristas sustitutivos en Inteligencia Artificial en Brasil. Brasilia , DF: Senado Federal, 2022)</a:t>
            </a:r>
            <a:endParaRPr lang="pt-BR" sz="5400" dirty="0"/>
          </a:p>
          <a:p>
            <a:pPr algn="just"/>
            <a:endParaRPr lang="es-ES" sz="4800" dirty="0"/>
          </a:p>
        </p:txBody>
      </p:sp>
      <p:pic>
        <p:nvPicPr>
          <p:cNvPr id="6" name="Espaço Reservado para Conteúdo 5" descr="Mão de pessoa segurando arma&#10;&#10;Descrição gerada automaticamente com confiança média">
            <a:extLst>
              <a:ext uri="{FF2B5EF4-FFF2-40B4-BE49-F238E27FC236}">
                <a16:creationId xmlns:a16="http://schemas.microsoft.com/office/drawing/2014/main" id="{1594074E-2BAA-D6DD-CA85-298336177CB8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007718" y="3849490"/>
            <a:ext cx="8136282" cy="6092751"/>
          </a:xfrm>
          <a:solidFill>
            <a:srgbClr val="1E3A8A"/>
          </a:solidFill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7FB68609-0D3F-56A3-0D78-D38C0F51CAC3}"/>
              </a:ext>
            </a:extLst>
          </p:cNvPr>
          <p:cNvSpPr txBox="1"/>
          <p:nvPr/>
        </p:nvSpPr>
        <p:spPr>
          <a:xfrm>
            <a:off x="1173334" y="1840032"/>
            <a:ext cx="9144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t-BR" sz="4800" dirty="0"/>
              <a:t>Projeto de </a:t>
            </a:r>
            <a:r>
              <a:rPr lang="pt-BR" sz="4800" dirty="0" err="1"/>
              <a:t>Ley</a:t>
            </a:r>
            <a:r>
              <a:rPr lang="pt-BR" sz="4800" dirty="0"/>
              <a:t> nº 2338/23</a:t>
            </a:r>
          </a:p>
        </p:txBody>
      </p:sp>
    </p:spTree>
    <p:extLst>
      <p:ext uri="{BB962C8B-B14F-4D97-AF65-F5344CB8AC3E}">
        <p14:creationId xmlns:p14="http://schemas.microsoft.com/office/powerpoint/2010/main" val="3717776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64121" y="2303348"/>
            <a:ext cx="8186622" cy="8446968"/>
          </a:xfrm>
        </p:spPr>
        <p:txBody>
          <a:bodyPr>
            <a:normAutofit/>
          </a:bodyPr>
          <a:lstStyle/>
          <a:p>
            <a:r>
              <a:rPr sz="4800" dirty="0" err="1"/>
              <a:t>Importancia</a:t>
            </a:r>
            <a:r>
              <a:rPr sz="4800" dirty="0"/>
              <a:t> de la </a:t>
            </a:r>
            <a:r>
              <a:rPr sz="4800" dirty="0" err="1"/>
              <a:t>protección</a:t>
            </a:r>
            <a:r>
              <a:rPr sz="4800" dirty="0"/>
              <a:t> de </a:t>
            </a:r>
            <a:r>
              <a:rPr sz="4800" dirty="0" err="1"/>
              <a:t>los</a:t>
            </a:r>
            <a:r>
              <a:rPr sz="4800" dirty="0"/>
              <a:t> derechos </a:t>
            </a:r>
            <a:r>
              <a:rPr sz="4800" dirty="0" err="1"/>
              <a:t>humanos</a:t>
            </a:r>
            <a:r>
              <a:rPr sz="4800" dirty="0"/>
              <a:t> y </a:t>
            </a:r>
            <a:r>
              <a:rPr sz="4800" dirty="0" err="1"/>
              <a:t>fundamentales</a:t>
            </a:r>
            <a:endParaRPr lang="pt-BR" sz="4800" dirty="0"/>
          </a:p>
          <a:p>
            <a:endParaRPr sz="4800" dirty="0"/>
          </a:p>
          <a:p>
            <a:r>
              <a:rPr sz="4800" dirty="0" err="1"/>
              <a:t>Desafíos</a:t>
            </a:r>
            <a:r>
              <a:rPr sz="4800" dirty="0"/>
              <a:t> y </a:t>
            </a:r>
            <a:r>
              <a:rPr sz="4800" dirty="0" err="1"/>
              <a:t>oportunidades</a:t>
            </a:r>
            <a:r>
              <a:rPr sz="4800" dirty="0"/>
              <a:t> </a:t>
            </a:r>
            <a:r>
              <a:rPr sz="4800" dirty="0" err="1"/>
              <a:t>en</a:t>
            </a:r>
            <a:r>
              <a:rPr sz="4800" dirty="0"/>
              <a:t> la </a:t>
            </a:r>
            <a:r>
              <a:rPr sz="4800" dirty="0" err="1"/>
              <a:t>regulación</a:t>
            </a:r>
            <a:endParaRPr lang="pt-BR" sz="4800" dirty="0"/>
          </a:p>
          <a:p>
            <a:pPr marL="76200" indent="0">
              <a:buNone/>
            </a:pPr>
            <a:endParaRPr lang="pt-BR" sz="4800" dirty="0"/>
          </a:p>
          <a:p>
            <a:r>
              <a:rPr lang="pt-BR" sz="4800" dirty="0" err="1"/>
              <a:t>Supervisión</a:t>
            </a:r>
            <a:r>
              <a:rPr lang="pt-BR" sz="4800" dirty="0"/>
              <a:t> e </a:t>
            </a:r>
            <a:r>
              <a:rPr lang="pt-BR" sz="4800" dirty="0" err="1"/>
              <a:t>Inspección</a:t>
            </a:r>
            <a:r>
              <a:rPr lang="pt-BR" sz="4800" dirty="0"/>
              <a:t> </a:t>
            </a:r>
            <a:endParaRPr sz="48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solidFill>
            <a:srgbClr val="1E3A8A"/>
          </a:solidFill>
        </p:spPr>
        <p:txBody>
          <a:bodyPr>
            <a:normAutofit fontScale="70000" lnSpcReduction="20000"/>
          </a:bodyPr>
          <a:lstStyle/>
          <a:p>
            <a:pPr algn="ctr"/>
            <a:endParaRPr kumimoji="0" lang="es-ES" sz="5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  <a:p>
            <a:pPr algn="ctr"/>
            <a:r>
              <a:rPr lang="es-ES" sz="7800" dirty="0">
                <a:solidFill>
                  <a:schemeClr val="bg1"/>
                </a:solidFill>
              </a:rPr>
              <a:t>Estructura básica del proyecto de ley </a:t>
            </a:r>
          </a:p>
          <a:p>
            <a:pPr algn="ctr"/>
            <a:endParaRPr lang="es-ES" sz="7800" dirty="0">
              <a:solidFill>
                <a:schemeClr val="bg1"/>
              </a:solidFill>
            </a:endParaRPr>
          </a:p>
          <a:p>
            <a:r>
              <a:rPr lang="es-ES" sz="4300" dirty="0">
                <a:solidFill>
                  <a:schemeClr val="bg1"/>
                </a:solidFill>
              </a:rPr>
              <a:t>Capítulo I. Disposiciones Preliminares </a:t>
            </a:r>
          </a:p>
          <a:p>
            <a:r>
              <a:rPr lang="es-ES" sz="4300" dirty="0">
                <a:solidFill>
                  <a:schemeClr val="bg1"/>
                </a:solidFill>
              </a:rPr>
              <a:t>•Ámbito de aplicación;</a:t>
            </a:r>
          </a:p>
          <a:p>
            <a:r>
              <a:rPr lang="es-ES" sz="4300" dirty="0">
                <a:solidFill>
                  <a:schemeClr val="bg1"/>
                </a:solidFill>
              </a:rPr>
              <a:t>• Principios;</a:t>
            </a:r>
          </a:p>
          <a:p>
            <a:r>
              <a:rPr lang="es-ES" sz="4300" dirty="0">
                <a:solidFill>
                  <a:schemeClr val="bg1"/>
                </a:solidFill>
              </a:rPr>
              <a:t>• Fundamentos; </a:t>
            </a:r>
          </a:p>
          <a:p>
            <a:r>
              <a:rPr lang="es-ES" sz="4300" dirty="0">
                <a:solidFill>
                  <a:schemeClr val="bg1"/>
                </a:solidFill>
              </a:rPr>
              <a:t>• Definiciones </a:t>
            </a:r>
          </a:p>
          <a:p>
            <a:endParaRPr lang="es-ES" sz="4300" dirty="0">
              <a:solidFill>
                <a:schemeClr val="bg1"/>
              </a:solidFill>
            </a:endParaRPr>
          </a:p>
          <a:p>
            <a:r>
              <a:rPr lang="es-ES" sz="4300" dirty="0">
                <a:solidFill>
                  <a:schemeClr val="bg1"/>
                </a:solidFill>
              </a:rPr>
              <a:t>Capitulo II. De derechos </a:t>
            </a:r>
          </a:p>
          <a:p>
            <a:endParaRPr lang="es-ES" sz="4300" dirty="0">
              <a:solidFill>
                <a:schemeClr val="bg1"/>
              </a:solidFill>
            </a:endParaRPr>
          </a:p>
          <a:p>
            <a:r>
              <a:rPr lang="es-ES" sz="4300" dirty="0">
                <a:solidFill>
                  <a:schemeClr val="bg1"/>
                </a:solidFill>
              </a:rPr>
              <a:t>Capítulo III. Evaluación y categorización de riesgos </a:t>
            </a:r>
          </a:p>
          <a:p>
            <a:r>
              <a:rPr lang="es-ES" sz="4300" dirty="0">
                <a:solidFill>
                  <a:schemeClr val="bg1"/>
                </a:solidFill>
              </a:rPr>
              <a:t>• Criterios de clasificación de riesgos </a:t>
            </a:r>
          </a:p>
          <a:p>
            <a:r>
              <a:rPr lang="es-ES" sz="4300" dirty="0">
                <a:solidFill>
                  <a:schemeClr val="bg1"/>
                </a:solidFill>
              </a:rPr>
              <a:t>• Evaluación algorítmica de impacto para alto riesgo</a:t>
            </a:r>
          </a:p>
          <a:p>
            <a:r>
              <a:rPr lang="es-ES" sz="4300" dirty="0">
                <a:solidFill>
                  <a:schemeClr val="bg1"/>
                </a:solidFill>
              </a:rPr>
              <a:t> </a:t>
            </a:r>
          </a:p>
          <a:p>
            <a:r>
              <a:rPr lang="es-ES" sz="4300" dirty="0">
                <a:solidFill>
                  <a:schemeClr val="bg1"/>
                </a:solidFill>
              </a:rPr>
              <a:t>Capítulo IV. De la Gobernanza de los Sistemas de Inteligencia Artificial</a:t>
            </a:r>
          </a:p>
          <a:p>
            <a:endParaRPr lang="es-ES" sz="4300" dirty="0">
              <a:solidFill>
                <a:schemeClr val="bg1"/>
              </a:solidFill>
            </a:endParaRPr>
          </a:p>
          <a:p>
            <a:r>
              <a:rPr lang="es-ES" sz="4300" dirty="0">
                <a:solidFill>
                  <a:schemeClr val="bg1"/>
                </a:solidFill>
              </a:rPr>
              <a:t>Capítulo V. Responsabilidad Civil </a:t>
            </a:r>
          </a:p>
          <a:p>
            <a:endParaRPr lang="es-ES" sz="4300" dirty="0">
              <a:solidFill>
                <a:schemeClr val="bg1"/>
              </a:solidFill>
            </a:endParaRPr>
          </a:p>
          <a:p>
            <a:r>
              <a:rPr lang="es-ES" sz="4300" dirty="0">
                <a:solidFill>
                  <a:schemeClr val="bg1"/>
                </a:solidFill>
              </a:rPr>
              <a:t>Capítulo VI. Supervisión e Inspección </a:t>
            </a:r>
          </a:p>
          <a:p>
            <a:endParaRPr lang="es-ES" sz="4300" dirty="0">
              <a:solidFill>
                <a:schemeClr val="bg1"/>
              </a:solidFill>
            </a:endParaRPr>
          </a:p>
          <a:p>
            <a:r>
              <a:rPr lang="es-ES" sz="4300" dirty="0">
                <a:solidFill>
                  <a:schemeClr val="bg1"/>
                </a:solidFill>
              </a:rPr>
              <a:t>Capítulo VII. De las Disposiciones Finales</a:t>
            </a:r>
            <a:endParaRPr lang="es-ES" sz="5200" dirty="0">
              <a:solidFill>
                <a:schemeClr val="bg1"/>
              </a:solidFill>
            </a:endParaRPr>
          </a:p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125859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00325" y="1155032"/>
            <a:ext cx="8186622" cy="8446968"/>
          </a:xfrm>
        </p:spPr>
        <p:txBody>
          <a:bodyPr>
            <a:normAutofit fontScale="32500" lnSpcReduction="20000"/>
          </a:bodyPr>
          <a:lstStyle/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r>
              <a:rPr lang="es-ES" sz="11100" dirty="0">
                <a:solidFill>
                  <a:schemeClr val="tx1"/>
                </a:solidFill>
              </a:rPr>
              <a:t>VII – la libre empresa, libre competencia y protección del consumidor; </a:t>
            </a: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endParaRPr lang="es-ES" sz="11100" dirty="0">
              <a:solidFill>
                <a:schemeClr val="tx1"/>
              </a:solidFill>
            </a:endParaRP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r>
              <a:rPr lang="es-ES" sz="11100" dirty="0">
                <a:solidFill>
                  <a:schemeClr val="tx1"/>
                </a:solidFill>
              </a:rPr>
              <a:t>VIII – la privacidad, protección de datos y autodeterminación informativa;</a:t>
            </a: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endParaRPr lang="es-ES" sz="11100" dirty="0">
              <a:solidFill>
                <a:schemeClr val="tx1"/>
              </a:solidFill>
            </a:endParaRP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r>
              <a:rPr lang="es-ES" sz="11100" dirty="0">
                <a:solidFill>
                  <a:schemeClr val="tx1"/>
                </a:solidFill>
              </a:rPr>
              <a:t> IX – la promoción de la investigación y el desarrollo con el objetivo de estimular la innovación en los sectores productivos y autoridades públicas; </a:t>
            </a: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endParaRPr lang="es-ES" sz="11100" dirty="0">
              <a:solidFill>
                <a:schemeClr val="tx1"/>
              </a:solidFill>
            </a:endParaRP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r>
              <a:rPr lang="es-ES" sz="11100" dirty="0">
                <a:solidFill>
                  <a:schemeClr val="tx1"/>
                </a:solidFill>
              </a:rPr>
              <a:t>X – acceso a la información, a la educación, al conocimiento de los sistemas de inteligencia artificial y sus aplicaciones</a:t>
            </a:r>
            <a:r>
              <a:rPr lang="es-ES" sz="9600" dirty="0">
                <a:solidFill>
                  <a:schemeClr val="tx1"/>
                </a:solidFill>
              </a:rPr>
              <a:t>.</a:t>
            </a:r>
            <a:endParaRPr lang="pt-BR" sz="1400" dirty="0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0" y="0"/>
            <a:ext cx="9144000" cy="10287000"/>
          </a:xfrm>
          <a:solidFill>
            <a:srgbClr val="1E3A8A"/>
          </a:solidFill>
        </p:spPr>
        <p:txBody>
          <a:bodyPr>
            <a:normAutofit fontScale="32500" lnSpcReduction="20000"/>
          </a:bodyPr>
          <a:lstStyle/>
          <a:p>
            <a:pPr algn="ctr"/>
            <a:endParaRPr lang="es-ES" sz="10400" dirty="0">
              <a:solidFill>
                <a:srgbClr val="FFFFFF"/>
              </a:solidFill>
            </a:endParaRPr>
          </a:p>
          <a:p>
            <a:pPr marL="0" algn="ctr">
              <a:lnSpc>
                <a:spcPct val="120000"/>
              </a:lnSpc>
              <a:spcAft>
                <a:spcPts val="600"/>
              </a:spcAft>
            </a:pPr>
            <a:r>
              <a:rPr lang="es-ES" sz="11100" dirty="0">
                <a:solidFill>
                  <a:schemeClr val="bg1"/>
                </a:solidFill>
              </a:rPr>
              <a:t>FUNDAMENTOS 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1100" dirty="0">
                <a:solidFill>
                  <a:schemeClr val="bg1"/>
                </a:solidFill>
              </a:rPr>
              <a:t>I – la centralidad de la persona humana;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1100" dirty="0">
                <a:solidFill>
                  <a:schemeClr val="bg1"/>
                </a:solidFill>
              </a:rPr>
              <a:t> 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1100" dirty="0">
                <a:solidFill>
                  <a:schemeClr val="bg1"/>
                </a:solidFill>
              </a:rPr>
              <a:t>II –lo respeto a los derechos humanos y a los valores democráticos; 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endParaRPr lang="es-ES" sz="11100" dirty="0">
              <a:solidFill>
                <a:schemeClr val="bg1"/>
              </a:solidFill>
            </a:endParaRP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1100" dirty="0">
                <a:solidFill>
                  <a:schemeClr val="bg1"/>
                </a:solidFill>
              </a:rPr>
              <a:t>III – el libre desarrollo de la personalidad;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1100" dirty="0">
                <a:solidFill>
                  <a:schemeClr val="bg1"/>
                </a:solidFill>
              </a:rPr>
              <a:t> 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1100" dirty="0">
                <a:solidFill>
                  <a:schemeClr val="bg1"/>
                </a:solidFill>
              </a:rPr>
              <a:t>IV – la protección del medio ambiente y desarrollo sostenible; 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endParaRPr lang="es-ES" sz="11100" dirty="0">
              <a:solidFill>
                <a:schemeClr val="bg1"/>
              </a:solidFill>
            </a:endParaRP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1100" dirty="0">
                <a:solidFill>
                  <a:schemeClr val="bg1"/>
                </a:solidFill>
              </a:rPr>
              <a:t>V – la igualdad, no discriminación, pluralidad y respeto de los derechos laborales; 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endParaRPr lang="es-ES" sz="11100" dirty="0">
              <a:solidFill>
                <a:schemeClr val="bg1"/>
              </a:solidFill>
            </a:endParaRP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1100" dirty="0">
                <a:solidFill>
                  <a:schemeClr val="bg1"/>
                </a:solidFill>
              </a:rPr>
              <a:t>VI – el desarrollo tecnológico e innovación; </a:t>
            </a:r>
          </a:p>
        </p:txBody>
      </p:sp>
    </p:spTree>
    <p:extLst>
      <p:ext uri="{BB962C8B-B14F-4D97-AF65-F5344CB8AC3E}">
        <p14:creationId xmlns:p14="http://schemas.microsoft.com/office/powerpoint/2010/main" val="3501768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00325" y="1155031"/>
            <a:ext cx="8186622" cy="8775777"/>
          </a:xfrm>
        </p:spPr>
        <p:txBody>
          <a:bodyPr>
            <a:normAutofit fontScale="32500" lnSpcReduction="20000"/>
          </a:bodyPr>
          <a:lstStyle/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r>
              <a:rPr lang="es-ES" sz="9600" dirty="0"/>
              <a:t>VIII – Debido proceso legal, impugnabilidad y contradicción; </a:t>
            </a: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r>
              <a:rPr lang="es-ES" sz="9600" dirty="0"/>
              <a:t>IX – Trazabilidad de las decisiones durante el ciclo de vida de los sistemas de inteligencia artificial como medio de rendición de cuentas y atribución de responsabilidades a una persona física o jurídica; </a:t>
            </a: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r>
              <a:rPr lang="es-ES" sz="9600" dirty="0"/>
              <a:t>X – Rendición de cuentas, responsabilidad y reparación integral de daño; </a:t>
            </a: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r>
              <a:rPr lang="es-ES" sz="9600" dirty="0"/>
              <a:t>XI – Prevención, precaución y mitigación de riesgos sistémicos derivados de usos intencionales o no intencionales y efectos imprevistos de los sistemas de inteligencia artificial; </a:t>
            </a:r>
          </a:p>
          <a:p>
            <a:pPr marL="0" indent="0" algn="just">
              <a:lnSpc>
                <a:spcPct val="120000"/>
              </a:lnSpc>
              <a:spcAft>
                <a:spcPts val="600"/>
              </a:spcAft>
              <a:buNone/>
            </a:pPr>
            <a:r>
              <a:rPr lang="es-ES" sz="9600" dirty="0"/>
              <a:t>XII – No maleficencia y proporcionalidad entre los métodos utilizados y los fines determinados y legítimos de los sistemas de inteligencia artificial.</a:t>
            </a:r>
            <a:endParaRPr lang="pt-BR" sz="1400" dirty="0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0" y="0"/>
            <a:ext cx="9144000" cy="10287000"/>
          </a:xfrm>
          <a:solidFill>
            <a:srgbClr val="1E3A8A"/>
          </a:solidFill>
        </p:spPr>
        <p:txBody>
          <a:bodyPr>
            <a:normAutofit fontScale="25000" lnSpcReduction="20000"/>
          </a:bodyPr>
          <a:lstStyle/>
          <a:p>
            <a:pPr algn="ctr"/>
            <a:endParaRPr lang="es-ES" sz="10400" dirty="0">
              <a:solidFill>
                <a:srgbClr val="FFFFFF"/>
              </a:solidFill>
            </a:endParaRPr>
          </a:p>
          <a:p>
            <a:pPr marL="0" algn="ctr">
              <a:lnSpc>
                <a:spcPct val="120000"/>
              </a:lnSpc>
              <a:spcAft>
                <a:spcPts val="600"/>
              </a:spcAft>
            </a:pPr>
            <a:r>
              <a:rPr lang="es-ES" sz="14400" dirty="0">
                <a:solidFill>
                  <a:schemeClr val="bg1"/>
                </a:solidFill>
              </a:rPr>
              <a:t>PRINCIPIOS </a:t>
            </a:r>
          </a:p>
          <a:p>
            <a:pPr marL="0" algn="ctr">
              <a:lnSpc>
                <a:spcPct val="120000"/>
              </a:lnSpc>
              <a:spcAft>
                <a:spcPts val="600"/>
              </a:spcAft>
            </a:pPr>
            <a:endParaRPr lang="es-ES" sz="14400" dirty="0">
              <a:solidFill>
                <a:schemeClr val="bg1"/>
              </a:solidFill>
            </a:endParaRP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4400" dirty="0">
                <a:solidFill>
                  <a:schemeClr val="bg1"/>
                </a:solidFill>
              </a:rPr>
              <a:t>I – Crecimiento inclusivo, desarrollo sostenible;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4400" dirty="0">
                <a:solidFill>
                  <a:schemeClr val="bg1"/>
                </a:solidFill>
              </a:rPr>
              <a:t>II – Autodeterminación, libertad de decisión y elección; 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4400" dirty="0">
                <a:solidFill>
                  <a:schemeClr val="bg1"/>
                </a:solidFill>
              </a:rPr>
              <a:t>III – Participación humana en el ciclo de supervisión humana efectiva; inteligencia artificial;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4400" dirty="0">
                <a:solidFill>
                  <a:schemeClr val="bg1"/>
                </a:solidFill>
              </a:rPr>
              <a:t>IV – No discriminación; 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4400" dirty="0">
                <a:solidFill>
                  <a:schemeClr val="bg1"/>
                </a:solidFill>
              </a:rPr>
              <a:t>V – Justicia, equidad e inclusión; 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4400" dirty="0">
                <a:solidFill>
                  <a:schemeClr val="bg1"/>
                </a:solidFill>
              </a:rPr>
              <a:t>VI – Transparencia, </a:t>
            </a:r>
            <a:r>
              <a:rPr lang="es-ES" sz="14400" dirty="0" err="1">
                <a:solidFill>
                  <a:schemeClr val="bg1"/>
                </a:solidFill>
              </a:rPr>
              <a:t>explicabilidad</a:t>
            </a:r>
            <a:r>
              <a:rPr lang="es-ES" sz="14400" dirty="0">
                <a:solidFill>
                  <a:schemeClr val="bg1"/>
                </a:solidFill>
              </a:rPr>
              <a:t>, auditabilidad;</a:t>
            </a:r>
          </a:p>
          <a:p>
            <a:pPr marL="358775" algn="just">
              <a:lnSpc>
                <a:spcPct val="120000"/>
              </a:lnSpc>
              <a:spcAft>
                <a:spcPts val="600"/>
              </a:spcAft>
            </a:pPr>
            <a:r>
              <a:rPr lang="es-ES" sz="14400" dirty="0">
                <a:solidFill>
                  <a:schemeClr val="bg1"/>
                </a:solidFill>
              </a:rPr>
              <a:t>VII – Confiabilidad, robustez de la inteligencia artificial y seguridad de la información. Sistemas de inteligibilidad e inteligencia;</a:t>
            </a:r>
            <a:endParaRPr lang="es-ES" sz="16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0046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6215" y="1957150"/>
            <a:ext cx="17035569" cy="8021052"/>
          </a:xfrm>
          <a:blipFill>
            <a:blip r:embed="rId2"/>
            <a:tile tx="0" ty="0" sx="100000" sy="100000" flip="none" algn="tl"/>
          </a:blipFill>
        </p:spPr>
        <p:txBody>
          <a:bodyPr>
            <a:normAutofit fontScale="92500" lnSpcReduction="20000"/>
          </a:bodyPr>
          <a:lstStyle/>
          <a:p>
            <a:pPr marL="76200" indent="0" algn="just">
              <a:buNone/>
            </a:pPr>
            <a:r>
              <a:rPr lang="es-ES" sz="4000" dirty="0"/>
              <a:t>a) Identificación biométrica remota “en tiempo real” en espacios públicos; </a:t>
            </a:r>
          </a:p>
          <a:p>
            <a:pPr marL="76200" indent="0" algn="just">
              <a:buNone/>
            </a:pPr>
            <a:r>
              <a:rPr lang="es-ES" sz="4000" dirty="0"/>
              <a:t>b) Garantías de vinculación a la autorización judicial, pero condicionadas a la persecución de los delitos graves. Problemas para la aplicación de sistemas de identificación biométrica remota; </a:t>
            </a:r>
          </a:p>
          <a:p>
            <a:pPr marL="76200" indent="0" algn="just">
              <a:buNone/>
            </a:pPr>
            <a:r>
              <a:rPr lang="es-ES" sz="4000" dirty="0"/>
              <a:t>c) Protección contra posibles efectos discriminatorios con sistemas de categorización biométrica que utilizan características sensibles (por ejemplo, género, raza, religión); </a:t>
            </a:r>
          </a:p>
          <a:p>
            <a:pPr marL="76200" indent="0" algn="just">
              <a:buNone/>
            </a:pPr>
            <a:r>
              <a:rPr lang="es-ES" sz="4000" dirty="0"/>
              <a:t>d) Sistemas policiales predictivos basados ​​en perfiles sociales, ubicación o patrones de comportamiento pasados;</a:t>
            </a:r>
          </a:p>
          <a:p>
            <a:pPr marL="76200" indent="0" algn="just">
              <a:buNone/>
            </a:pPr>
            <a:r>
              <a:rPr lang="es-ES" sz="4000" dirty="0"/>
              <a:t>e) Colecciones que potencialmente violen los derechos humanos y la privacidad de las imágenes; rasgos faciales de Internet u otras fuentes para crear bases de datos de reconocimiento facial;</a:t>
            </a:r>
          </a:p>
          <a:p>
            <a:pPr marL="76200" indent="0" algn="just">
              <a:buNone/>
            </a:pPr>
            <a:r>
              <a:rPr lang="es-ES" sz="4000" dirty="0"/>
              <a:t>f) Restricciones y calificación de riesgo elevada para los sistemas de IA utilizados para  influir en los votantes, en los resultados electorales y en sistemas de recomendación utilizados por plataformas de redes sociales; </a:t>
            </a:r>
          </a:p>
          <a:p>
            <a:pPr marL="76200" indent="0" algn="just">
              <a:buNone/>
            </a:pPr>
            <a:r>
              <a:rPr lang="es-ES" sz="4000" dirty="0"/>
              <a:t>g) Creación de entornos de pruebas regulatorios, es decir, sectores o entornos de la vida real</a:t>
            </a:r>
            <a:r>
              <a:rPr lang="es-ES" sz="4000"/>
              <a:t>, establecidos </a:t>
            </a:r>
            <a:r>
              <a:rPr lang="es-ES" sz="4000" dirty="0"/>
              <a:t>por las autoridades públicas para probar la IA antes de su despliegue generalizado </a:t>
            </a:r>
            <a:r>
              <a:rPr lang="es-ES" sz="4000"/>
              <a:t>y difuso.</a:t>
            </a:r>
            <a:endParaRPr lang="es-ES" sz="6600" dirty="0"/>
          </a:p>
        </p:txBody>
      </p:sp>
      <p:graphicFrame>
        <p:nvGraphicFramePr>
          <p:cNvPr id="5" name="Tabela 6">
            <a:extLst>
              <a:ext uri="{FF2B5EF4-FFF2-40B4-BE49-F238E27FC236}">
                <a16:creationId xmlns:a16="http://schemas.microsoft.com/office/drawing/2014/main" id="{7615A44C-EE8B-25D1-E73D-6114C95C59A6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853075824"/>
              </p:ext>
            </p:extLst>
          </p:nvPr>
        </p:nvGraphicFramePr>
        <p:xfrm>
          <a:off x="1384701" y="709851"/>
          <a:ext cx="14805139" cy="9510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05139">
                  <a:extLst>
                    <a:ext uri="{9D8B030D-6E8A-4147-A177-3AD203B41FA5}">
                      <a16:colId xmlns:a16="http://schemas.microsoft.com/office/drawing/2014/main" val="1387964052"/>
                    </a:ext>
                  </a:extLst>
                </a:gridCol>
              </a:tblGrid>
              <a:tr h="9510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ES" sz="4800" b="1" i="0" u="none" strike="noStrike" cap="none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El Reglamento UE del 15/06/23</a:t>
                      </a:r>
                      <a:endParaRPr lang="pt-BR" sz="4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36496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8940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0" y="3572540"/>
            <a:ext cx="18288000" cy="6714459"/>
          </a:xfrm>
          <a:solidFill>
            <a:srgbClr val="1E3A8A"/>
          </a:solidFill>
        </p:spPr>
        <p:txBody>
          <a:bodyPr>
            <a:normAutofit fontScale="92500" lnSpcReduction="20000"/>
          </a:bodyPr>
          <a:lstStyle/>
          <a:p>
            <a:pPr marL="9779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endParaRPr kumimoji="0" lang="es-ES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  <a:p>
            <a:pPr marL="9779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r>
              <a:rPr kumimoji="0" lang="es-ES" sz="66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iome Light" panose="020B0502040204020203" pitchFamily="34" charset="0"/>
                <a:cs typeface="Biome Light" panose="020B0502040204020203" pitchFamily="34" charset="0"/>
                <a:sym typeface="Calibri"/>
              </a:rPr>
              <a:t>La necesidad de una regulación bien pensada</a:t>
            </a:r>
          </a:p>
          <a:p>
            <a:pPr marL="9779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endParaRPr kumimoji="0" lang="es-ES" sz="6600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Biome Light" panose="020B0502040204020203" pitchFamily="34" charset="0"/>
              <a:cs typeface="Biome Light" panose="020B0502040204020203" pitchFamily="34" charset="0"/>
              <a:sym typeface="Calibri"/>
            </a:endParaRPr>
          </a:p>
          <a:p>
            <a:pPr marL="9779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r>
              <a:rPr kumimoji="0" lang="es-ES" sz="66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iome Light" panose="020B0502040204020203" pitchFamily="34" charset="0"/>
                <a:cs typeface="Biome Light" panose="020B0502040204020203" pitchFamily="34" charset="0"/>
                <a:sym typeface="Calibri"/>
              </a:rPr>
              <a:t>Promover la innovación sin comprometer derechos</a:t>
            </a:r>
          </a:p>
          <a:p>
            <a:pPr marL="9779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endParaRPr lang="es-ES" sz="6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iome Light" panose="020B0502040204020203" pitchFamily="34" charset="0"/>
              <a:cs typeface="Biome Light" panose="020B0502040204020203" pitchFamily="34" charset="0"/>
            </a:endParaRPr>
          </a:p>
          <a:p>
            <a:pPr marL="9779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r>
              <a:rPr lang="es-ES" sz="6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iome Light" panose="020B0502040204020203" pitchFamily="34" charset="0"/>
                <a:cs typeface="Biome Light" panose="020B0502040204020203" pitchFamily="34" charset="0"/>
              </a:rPr>
              <a:t>Participación multidisciplinaria</a:t>
            </a:r>
          </a:p>
          <a:p>
            <a:pPr marL="9779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endParaRPr kumimoji="0" lang="es-ES" sz="6600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Biome Light" panose="020B0502040204020203" pitchFamily="34" charset="0"/>
              <a:cs typeface="Biome Light" panose="020B0502040204020203" pitchFamily="34" charset="0"/>
              <a:sym typeface="Calibri"/>
            </a:endParaRPr>
          </a:p>
          <a:p>
            <a:pPr marL="9779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r>
              <a:rPr kumimoji="0" lang="es-ES" sz="6600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iome Light" panose="020B0502040204020203" pitchFamily="34" charset="0"/>
                <a:cs typeface="Biome Light" panose="020B0502040204020203" pitchFamily="34" charset="0"/>
                <a:sym typeface="Calibri"/>
              </a:rPr>
              <a:t>El papel crucial del derecho comparado</a:t>
            </a:r>
          </a:p>
          <a:p>
            <a:endParaRPr lang="pt-BR" dirty="0">
              <a:solidFill>
                <a:schemeClr val="bg1"/>
              </a:solidFill>
            </a:endParaRPr>
          </a:p>
          <a:p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332898" y="1282631"/>
            <a:ext cx="13997562" cy="2077258"/>
          </a:xfrm>
        </p:spPr>
        <p:txBody>
          <a:bodyPr/>
          <a:lstStyle/>
          <a:p>
            <a:pPr algn="ctr">
              <a:defRPr>
                <a:solidFill>
                  <a:srgbClr val="1E3A8A"/>
                </a:solidFill>
              </a:defRPr>
            </a:pPr>
            <a:r>
              <a:rPr dirty="0" err="1"/>
              <a:t>Conclusión</a:t>
            </a:r>
            <a:endParaRPr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d511aacd-8b6e-4fe1-8773-9724e26e88a3}" enabled="0" method="" siteId="{d511aacd-8b6e-4fe1-8773-9724e26e88a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345</TotalTime>
  <Words>847</Words>
  <Application>Microsoft Office PowerPoint</Application>
  <PresentationFormat>Personalizar</PresentationFormat>
  <Paragraphs>104</Paragraphs>
  <Slides>9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5" baseType="lpstr">
      <vt:lpstr>Arial</vt:lpstr>
      <vt:lpstr>Calibri</vt:lpstr>
      <vt:lpstr>Biome Light</vt:lpstr>
      <vt:lpstr>Roboto Light</vt:lpstr>
      <vt:lpstr>Smart Slides v1</vt:lpstr>
      <vt:lpstr>think-cell Slide</vt:lpstr>
      <vt:lpstr>La regulación de la inteligencia artificial desde la perspectiva del derecho comparado</vt:lpstr>
      <vt:lpstr>Apresentação do PowerPoint</vt:lpstr>
      <vt:lpstr>Proyectos Legislativos en Brasi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nclusió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Afonso de Paula Pinheiro Rocha</dc:creator>
  <cp:lastModifiedBy>Afonso de Paula Pinheiro Rocha</cp:lastModifiedBy>
  <cp:revision>38</cp:revision>
  <dcterms:modified xsi:type="dcterms:W3CDTF">2023-10-09T02:10:57Z</dcterms:modified>
</cp:coreProperties>
</file>